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59" r:id="rId3"/>
    <p:sldId id="25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A60572-E840-4479-9F3E-E37DCFADF316}" v="24" dt="2021-05-23T12:37:42.0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hsan,Sidra,Karachi,Safety-KHI" userId="e8583533-ed03-4299-9ef2-4f3f618a269d" providerId="ADAL" clId="{4AA60572-E840-4479-9F3E-E37DCFADF316}"/>
    <pc:docChg chg="custSel modSld">
      <pc:chgData name="Ehsan,Sidra,Karachi,Safety-KHI" userId="e8583533-ed03-4299-9ef2-4f3f618a269d" providerId="ADAL" clId="{4AA60572-E840-4479-9F3E-E37DCFADF316}" dt="2021-05-23T12:37:42.068" v="254" actId="1076"/>
      <pc:docMkLst>
        <pc:docMk/>
      </pc:docMkLst>
      <pc:sldChg chg="addSp delSp modSp mod">
        <pc:chgData name="Ehsan,Sidra,Karachi,Safety-KHI" userId="e8583533-ed03-4299-9ef2-4f3f618a269d" providerId="ADAL" clId="{4AA60572-E840-4479-9F3E-E37DCFADF316}" dt="2021-05-23T12:37:42.068" v="254" actId="1076"/>
        <pc:sldMkLst>
          <pc:docMk/>
          <pc:sldMk cId="1249568664" sldId="258"/>
        </pc:sldMkLst>
        <pc:spChg chg="mod">
          <ac:chgData name="Ehsan,Sidra,Karachi,Safety-KHI" userId="e8583533-ed03-4299-9ef2-4f3f618a269d" providerId="ADAL" clId="{4AA60572-E840-4479-9F3E-E37DCFADF316}" dt="2021-05-23T12:35:17.635" v="97" actId="20577"/>
          <ac:spMkLst>
            <pc:docMk/>
            <pc:sldMk cId="1249568664" sldId="258"/>
            <ac:spMk id="78" creationId="{00000000-0000-0000-0000-000000000000}"/>
          </ac:spMkLst>
        </pc:spChg>
        <pc:spChg chg="add mod">
          <ac:chgData name="Ehsan,Sidra,Karachi,Safety-KHI" userId="e8583533-ed03-4299-9ef2-4f3f618a269d" providerId="ADAL" clId="{4AA60572-E840-4479-9F3E-E37DCFADF316}" dt="2021-05-23T12:36:54.911" v="210" actId="20577"/>
          <ac:spMkLst>
            <pc:docMk/>
            <pc:sldMk cId="1249568664" sldId="258"/>
            <ac:spMk id="84" creationId="{AD37E6A0-37F6-478C-9002-BE0974139CBB}"/>
          </ac:spMkLst>
        </pc:spChg>
        <pc:spChg chg="mod">
          <ac:chgData name="Ehsan,Sidra,Karachi,Safety-KHI" userId="e8583533-ed03-4299-9ef2-4f3f618a269d" providerId="ADAL" clId="{4AA60572-E840-4479-9F3E-E37DCFADF316}" dt="2021-05-23T12:36:02.339" v="104" actId="1076"/>
          <ac:spMkLst>
            <pc:docMk/>
            <pc:sldMk cId="1249568664" sldId="258"/>
            <ac:spMk id="99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5:34.430" v="102" actId="20577"/>
          <ac:spMkLst>
            <pc:docMk/>
            <pc:sldMk cId="1249568664" sldId="258"/>
            <ac:spMk id="115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5:44.586" v="103" actId="478"/>
          <ac:spMkLst>
            <pc:docMk/>
            <pc:sldMk cId="1249568664" sldId="258"/>
            <ac:spMk id="118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5:44.586" v="103" actId="478"/>
          <ac:spMkLst>
            <pc:docMk/>
            <pc:sldMk cId="1249568664" sldId="258"/>
            <ac:spMk id="119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6:33.718" v="184" actId="20577"/>
          <ac:spMkLst>
            <pc:docMk/>
            <pc:sldMk cId="1249568664" sldId="258"/>
            <ac:spMk id="120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6:20.154" v="133" actId="20577"/>
          <ac:spMkLst>
            <pc:docMk/>
            <pc:sldMk cId="1249568664" sldId="258"/>
            <ac:spMk id="121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4:03.552" v="40" actId="20577"/>
          <ac:spMkLst>
            <pc:docMk/>
            <pc:sldMk cId="1249568664" sldId="258"/>
            <ac:spMk id="135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4:19.607" v="65" actId="20577"/>
          <ac:spMkLst>
            <pc:docMk/>
            <pc:sldMk cId="1249568664" sldId="258"/>
            <ac:spMk id="149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7:15.920" v="224" actId="20577"/>
          <ac:spMkLst>
            <pc:docMk/>
            <pc:sldMk cId="1249568664" sldId="258"/>
            <ac:spMk id="173" creationId="{00000000-0000-0000-0000-000000000000}"/>
          </ac:spMkLst>
        </pc:spChg>
        <pc:spChg chg="mod">
          <ac:chgData name="Ehsan,Sidra,Karachi,Safety-KHI" userId="e8583533-ed03-4299-9ef2-4f3f618a269d" providerId="ADAL" clId="{4AA60572-E840-4479-9F3E-E37DCFADF316}" dt="2021-05-23T12:37:24.680" v="250" actId="20577"/>
          <ac:spMkLst>
            <pc:docMk/>
            <pc:sldMk cId="1249568664" sldId="258"/>
            <ac:spMk id="174" creationId="{00000000-0000-0000-0000-000000000000}"/>
          </ac:spMkLst>
        </pc:spChg>
        <pc:spChg chg="del">
          <ac:chgData name="Ehsan,Sidra,Karachi,Safety-KHI" userId="e8583533-ed03-4299-9ef2-4f3f618a269d" providerId="ADAL" clId="{4AA60572-E840-4479-9F3E-E37DCFADF316}" dt="2021-05-23T12:37:10.345" v="214" actId="478"/>
          <ac:spMkLst>
            <pc:docMk/>
            <pc:sldMk cId="1249568664" sldId="258"/>
            <ac:spMk id="177" creationId="{00000000-0000-0000-0000-000000000000}"/>
          </ac:spMkLst>
        </pc:spChg>
        <pc:grpChg chg="del mod">
          <ac:chgData name="Ehsan,Sidra,Karachi,Safety-KHI" userId="e8583533-ed03-4299-9ef2-4f3f618a269d" providerId="ADAL" clId="{4AA60572-E840-4479-9F3E-E37DCFADF316}" dt="2021-05-23T12:35:44.586" v="103" actId="478"/>
          <ac:grpSpMkLst>
            <pc:docMk/>
            <pc:sldMk cId="1249568664" sldId="258"/>
            <ac:grpSpMk id="10" creationId="{00000000-0000-0000-0000-000000000000}"/>
          </ac:grpSpMkLst>
        </pc:grpChg>
        <pc:grpChg chg="del">
          <ac:chgData name="Ehsan,Sidra,Karachi,Safety-KHI" userId="e8583533-ed03-4299-9ef2-4f3f618a269d" providerId="ADAL" clId="{4AA60572-E840-4479-9F3E-E37DCFADF316}" dt="2021-05-23T12:32:48.575" v="10" actId="478"/>
          <ac:grpSpMkLst>
            <pc:docMk/>
            <pc:sldMk cId="1249568664" sldId="258"/>
            <ac:grpSpMk id="15" creationId="{00000000-0000-0000-0000-000000000000}"/>
          </ac:grpSpMkLst>
        </pc:grpChg>
        <pc:grpChg chg="del">
          <ac:chgData name="Ehsan,Sidra,Karachi,Safety-KHI" userId="e8583533-ed03-4299-9ef2-4f3f618a269d" providerId="ADAL" clId="{4AA60572-E840-4479-9F3E-E37DCFADF316}" dt="2021-05-23T12:32:59.982" v="12" actId="478"/>
          <ac:grpSpMkLst>
            <pc:docMk/>
            <pc:sldMk cId="1249568664" sldId="258"/>
            <ac:grpSpMk id="17" creationId="{00000000-0000-0000-0000-000000000000}"/>
          </ac:grpSpMkLst>
        </pc:grpChg>
        <pc:grpChg chg="del">
          <ac:chgData name="Ehsan,Sidra,Karachi,Safety-KHI" userId="e8583533-ed03-4299-9ef2-4f3f618a269d" providerId="ADAL" clId="{4AA60572-E840-4479-9F3E-E37DCFADF316}" dt="2021-05-23T12:33:07.209" v="13" actId="478"/>
          <ac:grpSpMkLst>
            <pc:docMk/>
            <pc:sldMk cId="1249568664" sldId="258"/>
            <ac:grpSpMk id="19" creationId="{00000000-0000-0000-0000-000000000000}"/>
          </ac:grpSpMkLst>
        </pc:grpChg>
        <pc:grpChg chg="mod">
          <ac:chgData name="Ehsan,Sidra,Karachi,Safety-KHI" userId="e8583533-ed03-4299-9ef2-4f3f618a269d" providerId="ADAL" clId="{4AA60572-E840-4479-9F3E-E37DCFADF316}" dt="2021-05-23T12:35:44.586" v="103" actId="478"/>
          <ac:grpSpMkLst>
            <pc:docMk/>
            <pc:sldMk cId="1249568664" sldId="258"/>
            <ac:grpSpMk id="117" creationId="{00000000-0000-0000-0000-000000000000}"/>
          </ac:grpSpMkLst>
        </pc:grpChg>
        <pc:grpChg chg="topLvl">
          <ac:chgData name="Ehsan,Sidra,Karachi,Safety-KHI" userId="e8583533-ed03-4299-9ef2-4f3f618a269d" providerId="ADAL" clId="{4AA60572-E840-4479-9F3E-E37DCFADF316}" dt="2021-05-23T12:32:48.575" v="10" actId="478"/>
          <ac:grpSpMkLst>
            <pc:docMk/>
            <pc:sldMk cId="1249568664" sldId="258"/>
            <ac:grpSpMk id="131" creationId="{00000000-0000-0000-0000-000000000000}"/>
          </ac:grpSpMkLst>
        </pc:grpChg>
        <pc:grpChg chg="topLvl">
          <ac:chgData name="Ehsan,Sidra,Karachi,Safety-KHI" userId="e8583533-ed03-4299-9ef2-4f3f618a269d" providerId="ADAL" clId="{4AA60572-E840-4479-9F3E-E37DCFADF316}" dt="2021-05-23T12:32:59.982" v="12" actId="478"/>
          <ac:grpSpMkLst>
            <pc:docMk/>
            <pc:sldMk cId="1249568664" sldId="258"/>
            <ac:grpSpMk id="145" creationId="{00000000-0000-0000-0000-000000000000}"/>
          </ac:grpSpMkLst>
        </pc:grpChg>
        <pc:grpChg chg="topLvl">
          <ac:chgData name="Ehsan,Sidra,Karachi,Safety-KHI" userId="e8583533-ed03-4299-9ef2-4f3f618a269d" providerId="ADAL" clId="{4AA60572-E840-4479-9F3E-E37DCFADF316}" dt="2021-05-23T12:33:07.209" v="13" actId="478"/>
          <ac:grpSpMkLst>
            <pc:docMk/>
            <pc:sldMk cId="1249568664" sldId="258"/>
            <ac:grpSpMk id="170" creationId="{00000000-0000-0000-0000-000000000000}"/>
          </ac:grpSpMkLst>
        </pc:grpChg>
        <pc:picChg chg="del">
          <ac:chgData name="Ehsan,Sidra,Karachi,Safety-KHI" userId="e8583533-ed03-4299-9ef2-4f3f618a269d" providerId="ADAL" clId="{4AA60572-E840-4479-9F3E-E37DCFADF316}" dt="2021-05-23T12:32:54.827" v="11" actId="478"/>
          <ac:picMkLst>
            <pc:docMk/>
            <pc:sldMk cId="1249568664" sldId="258"/>
            <ac:picMk id="79" creationId="{3508B9A2-E1EA-4C84-9F08-2982F64B280E}"/>
          </ac:picMkLst>
        </pc:picChg>
        <pc:picChg chg="add mod">
          <ac:chgData name="Ehsan,Sidra,Karachi,Safety-KHI" userId="e8583533-ed03-4299-9ef2-4f3f618a269d" providerId="ADAL" clId="{4AA60572-E840-4479-9F3E-E37DCFADF316}" dt="2021-05-23T12:33:55.192" v="17" actId="1076"/>
          <ac:picMkLst>
            <pc:docMk/>
            <pc:sldMk cId="1249568664" sldId="258"/>
            <ac:picMk id="80" creationId="{81B102D5-DC2D-4C6D-B476-B45D70E20F8A}"/>
          </ac:picMkLst>
        </pc:picChg>
        <pc:picChg chg="add mod">
          <ac:chgData name="Ehsan,Sidra,Karachi,Safety-KHI" userId="e8583533-ed03-4299-9ef2-4f3f618a269d" providerId="ADAL" clId="{4AA60572-E840-4479-9F3E-E37DCFADF316}" dt="2021-05-23T12:34:41.676" v="69" actId="1076"/>
          <ac:picMkLst>
            <pc:docMk/>
            <pc:sldMk cId="1249568664" sldId="258"/>
            <ac:picMk id="81" creationId="{B3CDF3A8-E844-483A-8201-77E1CC026713}"/>
          </ac:picMkLst>
        </pc:picChg>
        <pc:picChg chg="add mod">
          <ac:chgData name="Ehsan,Sidra,Karachi,Safety-KHI" userId="e8583533-ed03-4299-9ef2-4f3f618a269d" providerId="ADAL" clId="{4AA60572-E840-4479-9F3E-E37DCFADF316}" dt="2021-05-23T12:35:05.852" v="73" actId="1076"/>
          <ac:picMkLst>
            <pc:docMk/>
            <pc:sldMk cId="1249568664" sldId="258"/>
            <ac:picMk id="82" creationId="{8C450B52-6F44-4C42-82BA-42A90FE39A75}"/>
          </ac:picMkLst>
        </pc:picChg>
        <pc:picChg chg="add mod">
          <ac:chgData name="Ehsan,Sidra,Karachi,Safety-KHI" userId="e8583533-ed03-4299-9ef2-4f3f618a269d" providerId="ADAL" clId="{4AA60572-E840-4479-9F3E-E37DCFADF316}" dt="2021-05-23T12:36:10.104" v="107" actId="14100"/>
          <ac:picMkLst>
            <pc:docMk/>
            <pc:sldMk cId="1249568664" sldId="258"/>
            <ac:picMk id="83" creationId="{0423E99B-A7B9-46E0-80F7-232DAFF81ECE}"/>
          </ac:picMkLst>
        </pc:picChg>
        <pc:picChg chg="add mod">
          <ac:chgData name="Ehsan,Sidra,Karachi,Safety-KHI" userId="e8583533-ed03-4299-9ef2-4f3f618a269d" providerId="ADAL" clId="{4AA60572-E840-4479-9F3E-E37DCFADF316}" dt="2021-05-23T12:37:07.600" v="213" actId="14100"/>
          <ac:picMkLst>
            <pc:docMk/>
            <pc:sldMk cId="1249568664" sldId="258"/>
            <ac:picMk id="85" creationId="{7EBD6A1D-FC92-463F-ACEE-E42666F3AB2B}"/>
          </ac:picMkLst>
        </pc:picChg>
        <pc:picChg chg="add mod">
          <ac:chgData name="Ehsan,Sidra,Karachi,Safety-KHI" userId="e8583533-ed03-4299-9ef2-4f3f618a269d" providerId="ADAL" clId="{4AA60572-E840-4479-9F3E-E37DCFADF316}" dt="2021-05-23T12:37:42.068" v="254" actId="1076"/>
          <ac:picMkLst>
            <pc:docMk/>
            <pc:sldMk cId="1249568664" sldId="258"/>
            <ac:picMk id="91" creationId="{F63E8F2E-DECC-4F4D-B6D8-0CD4E6606933}"/>
          </ac:picMkLst>
        </pc:picChg>
        <pc:picChg chg="del">
          <ac:chgData name="Ehsan,Sidra,Karachi,Safety-KHI" userId="e8583533-ed03-4299-9ef2-4f3f618a269d" providerId="ADAL" clId="{4AA60572-E840-4479-9F3E-E37DCFADF316}" dt="2021-05-23T12:35:44.586" v="103" actId="478"/>
          <ac:picMkLst>
            <pc:docMk/>
            <pc:sldMk cId="1249568664" sldId="258"/>
            <ac:picMk id="101" creationId="{00000000-0000-0000-0000-000000000000}"/>
          </ac:picMkLst>
        </pc:picChg>
        <pc:picChg chg="del topLvl">
          <ac:chgData name="Ehsan,Sidra,Karachi,Safety-KHI" userId="e8583533-ed03-4299-9ef2-4f3f618a269d" providerId="ADAL" clId="{4AA60572-E840-4479-9F3E-E37DCFADF316}" dt="2021-05-23T12:32:48.575" v="10" actId="478"/>
          <ac:picMkLst>
            <pc:docMk/>
            <pc:sldMk cId="1249568664" sldId="258"/>
            <ac:picMk id="103" creationId="{00000000-0000-0000-0000-000000000000}"/>
          </ac:picMkLst>
        </pc:picChg>
        <pc:picChg chg="del topLvl">
          <ac:chgData name="Ehsan,Sidra,Karachi,Safety-KHI" userId="e8583533-ed03-4299-9ef2-4f3f618a269d" providerId="ADAL" clId="{4AA60572-E840-4479-9F3E-E37DCFADF316}" dt="2021-05-23T12:32:59.982" v="12" actId="478"/>
          <ac:picMkLst>
            <pc:docMk/>
            <pc:sldMk cId="1249568664" sldId="258"/>
            <ac:picMk id="110" creationId="{00000000-0000-0000-0000-000000000000}"/>
          </ac:picMkLst>
        </pc:picChg>
        <pc:picChg chg="del topLvl">
          <ac:chgData name="Ehsan,Sidra,Karachi,Safety-KHI" userId="e8583533-ed03-4299-9ef2-4f3f618a269d" providerId="ADAL" clId="{4AA60572-E840-4479-9F3E-E37DCFADF316}" dt="2021-05-23T12:33:07.209" v="13" actId="478"/>
          <ac:picMkLst>
            <pc:docMk/>
            <pc:sldMk cId="1249568664" sldId="258"/>
            <ac:picMk id="176" creationId="{29B9C4A8-E537-43D5-8B03-4D906C5BDF49}"/>
          </ac:picMkLst>
        </pc:picChg>
      </pc:sldChg>
      <pc:sldChg chg="modSp mod">
        <pc:chgData name="Ehsan,Sidra,Karachi,Safety-KHI" userId="e8583533-ed03-4299-9ef2-4f3f618a269d" providerId="ADAL" clId="{4AA60572-E840-4479-9F3E-E37DCFADF316}" dt="2021-05-23T12:32:36.025" v="1" actId="20577"/>
        <pc:sldMkLst>
          <pc:docMk/>
          <pc:sldMk cId="4167291114" sldId="259"/>
        </pc:sldMkLst>
        <pc:spChg chg="mod">
          <ac:chgData name="Ehsan,Sidra,Karachi,Safety-KHI" userId="e8583533-ed03-4299-9ef2-4f3f618a269d" providerId="ADAL" clId="{4AA60572-E840-4479-9F3E-E37DCFADF316}" dt="2021-05-23T12:32:36.025" v="1" actId="20577"/>
          <ac:spMkLst>
            <pc:docMk/>
            <pc:sldMk cId="4167291114" sldId="259"/>
            <ac:spMk id="4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23/05/2021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23/05/2021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jpeg"/><Relationship Id="rId3" Type="http://schemas.openxmlformats.org/officeDocument/2006/relationships/image" Target="../media/image11.png"/><Relationship Id="rId7" Type="http://schemas.microsoft.com/office/2007/relationships/hdphoto" Target="../media/hdphoto1.wdp"/><Relationship Id="rId12" Type="http://schemas.openxmlformats.org/officeDocument/2006/relationships/image" Target="../media/image19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11" Type="http://schemas.openxmlformats.org/officeDocument/2006/relationships/image" Target="../media/image18.jpeg"/><Relationship Id="rId5" Type="http://schemas.openxmlformats.org/officeDocument/2006/relationships/image" Target="../media/image13.jpeg"/><Relationship Id="rId10" Type="http://schemas.openxmlformats.org/officeDocument/2006/relationships/image" Target="../media/image17.jpeg"/><Relationship Id="rId4" Type="http://schemas.openxmlformats.org/officeDocument/2006/relationships/image" Target="../media/image12.jpeg"/><Relationship Id="rId9" Type="http://schemas.openxmlformats.org/officeDocument/2006/relationships/image" Target="../media/image16.jpe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WS Team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estlé Port Qasim Factory - 2021</a:t>
            </a:r>
          </a:p>
        </p:txBody>
      </p:sp>
    </p:spTree>
    <p:extLst>
      <p:ext uri="{BB962C8B-B14F-4D97-AF65-F5344CB8AC3E}">
        <p14:creationId xmlns:p14="http://schemas.microsoft.com/office/powerpoint/2010/main" val="4167291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6028182" y="2681158"/>
            <a:ext cx="742191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2585" eaLnBrk="0" hangingPunct="0"/>
            <a:r>
              <a:rPr lang="en-GB" sz="1100" dirty="0">
                <a:solidFill>
                  <a:srgbClr val="FFFFFF"/>
                </a:solidFill>
                <a:ea typeface="ヒラギノ角ゴ Pro W3" pitchFamily="1" charset="-128"/>
              </a:rPr>
              <a:t>Team Leader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610621" y="391892"/>
            <a:ext cx="6252594" cy="6040617"/>
            <a:chOff x="1490458" y="200025"/>
            <a:chExt cx="9626294" cy="9401183"/>
          </a:xfrm>
        </p:grpSpPr>
        <p:sp>
          <p:nvSpPr>
            <p:cNvPr id="86" name="Freeform 85"/>
            <p:cNvSpPr>
              <a:spLocks/>
            </p:cNvSpPr>
            <p:nvPr/>
          </p:nvSpPr>
          <p:spPr bwMode="gray">
            <a:xfrm>
              <a:off x="1490458" y="3412436"/>
              <a:ext cx="2386965" cy="5233988"/>
            </a:xfrm>
            <a:custGeom>
              <a:avLst/>
              <a:gdLst/>
              <a:ahLst/>
              <a:cxnLst>
                <a:cxn ang="0">
                  <a:pos x="111" y="296"/>
                </a:cxn>
                <a:cxn ang="0">
                  <a:pos x="113" y="295"/>
                </a:cxn>
                <a:cxn ang="0">
                  <a:pos x="141" y="289"/>
                </a:cxn>
                <a:cxn ang="0">
                  <a:pos x="46" y="95"/>
                </a:cxn>
                <a:cxn ang="0">
                  <a:pos x="56" y="26"/>
                </a:cxn>
                <a:cxn ang="0">
                  <a:pos x="40" y="0"/>
                </a:cxn>
                <a:cxn ang="0">
                  <a:pos x="12" y="12"/>
                </a:cxn>
                <a:cxn ang="0">
                  <a:pos x="0" y="95"/>
                </a:cxn>
                <a:cxn ang="0">
                  <a:pos x="114" y="326"/>
                </a:cxn>
                <a:cxn ang="0">
                  <a:pos x="111" y="298"/>
                </a:cxn>
                <a:cxn ang="0">
                  <a:pos x="111" y="296"/>
                </a:cxn>
              </a:cxnLst>
              <a:rect l="0" t="0" r="r" b="b"/>
              <a:pathLst>
                <a:path w="141" h="326">
                  <a:moveTo>
                    <a:pt x="111" y="296"/>
                  </a:moveTo>
                  <a:cubicBezTo>
                    <a:pt x="113" y="295"/>
                    <a:pt x="113" y="295"/>
                    <a:pt x="113" y="295"/>
                  </a:cubicBezTo>
                  <a:cubicBezTo>
                    <a:pt x="141" y="289"/>
                    <a:pt x="141" y="289"/>
                    <a:pt x="141" y="289"/>
                  </a:cubicBezTo>
                  <a:cubicBezTo>
                    <a:pt x="83" y="244"/>
                    <a:pt x="46" y="174"/>
                    <a:pt x="46" y="95"/>
                  </a:cubicBezTo>
                  <a:cubicBezTo>
                    <a:pt x="46" y="71"/>
                    <a:pt x="49" y="48"/>
                    <a:pt x="56" y="2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" y="39"/>
                    <a:pt x="0" y="66"/>
                    <a:pt x="0" y="95"/>
                  </a:cubicBezTo>
                  <a:cubicBezTo>
                    <a:pt x="0" y="189"/>
                    <a:pt x="45" y="273"/>
                    <a:pt x="114" y="326"/>
                  </a:cubicBezTo>
                  <a:cubicBezTo>
                    <a:pt x="111" y="298"/>
                    <a:pt x="111" y="298"/>
                    <a:pt x="111" y="298"/>
                  </a:cubicBezTo>
                  <a:lnTo>
                    <a:pt x="111" y="29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gray">
            <a:xfrm>
              <a:off x="6500817" y="200027"/>
              <a:ext cx="4251536" cy="3524885"/>
            </a:xfrm>
            <a:custGeom>
              <a:avLst/>
              <a:gdLst/>
              <a:ahLst/>
              <a:cxnLst>
                <a:cxn ang="0">
                  <a:pos x="21" y="23"/>
                </a:cxn>
                <a:cxn ang="0">
                  <a:pos x="19" y="25"/>
                </a:cxn>
                <a:cxn ang="0">
                  <a:pos x="1" y="46"/>
                </a:cxn>
                <a:cxn ang="0">
                  <a:pos x="224" y="208"/>
                </a:cxn>
                <a:cxn ang="0">
                  <a:pos x="252" y="220"/>
                </a:cxn>
                <a:cxn ang="0">
                  <a:pos x="268" y="194"/>
                </a:cxn>
                <a:cxn ang="0">
                  <a:pos x="0" y="0"/>
                </a:cxn>
                <a:cxn ang="0">
                  <a:pos x="19" y="21"/>
                </a:cxn>
                <a:cxn ang="0">
                  <a:pos x="21" y="23"/>
                </a:cxn>
              </a:cxnLst>
              <a:rect l="0" t="0" r="r" b="b"/>
              <a:pathLst>
                <a:path w="268" h="220">
                  <a:moveTo>
                    <a:pt x="21" y="23"/>
                  </a:moveTo>
                  <a:cubicBezTo>
                    <a:pt x="19" y="25"/>
                    <a:pt x="19" y="25"/>
                    <a:pt x="19" y="2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04" y="50"/>
                    <a:pt x="190" y="116"/>
                    <a:pt x="224" y="208"/>
                  </a:cubicBezTo>
                  <a:cubicBezTo>
                    <a:pt x="252" y="220"/>
                    <a:pt x="252" y="220"/>
                    <a:pt x="252" y="220"/>
                  </a:cubicBezTo>
                  <a:cubicBezTo>
                    <a:pt x="268" y="194"/>
                    <a:pt x="268" y="194"/>
                    <a:pt x="268" y="194"/>
                  </a:cubicBezTo>
                  <a:cubicBezTo>
                    <a:pt x="228" y="83"/>
                    <a:pt x="124" y="4"/>
                    <a:pt x="0" y="0"/>
                  </a:cubicBezTo>
                  <a:cubicBezTo>
                    <a:pt x="19" y="21"/>
                    <a:pt x="19" y="21"/>
                    <a:pt x="19" y="21"/>
                  </a:cubicBezTo>
                  <a:lnTo>
                    <a:pt x="21" y="23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gray">
            <a:xfrm>
              <a:off x="1764669" y="200025"/>
              <a:ext cx="4816158" cy="3335972"/>
            </a:xfrm>
            <a:custGeom>
              <a:avLst/>
              <a:gdLst/>
              <a:ahLst/>
              <a:cxnLst>
                <a:cxn ang="0">
                  <a:pos x="29" y="181"/>
                </a:cxn>
                <a:cxn ang="0">
                  <a:pos x="30" y="184"/>
                </a:cxn>
                <a:cxn ang="0">
                  <a:pos x="44" y="208"/>
                </a:cxn>
                <a:cxn ang="0">
                  <a:pos x="267" y="46"/>
                </a:cxn>
                <a:cxn ang="0">
                  <a:pos x="287" y="23"/>
                </a:cxn>
                <a:cxn ang="0">
                  <a:pos x="267" y="0"/>
                </a:cxn>
                <a:cxn ang="0">
                  <a:pos x="0" y="194"/>
                </a:cxn>
                <a:cxn ang="0">
                  <a:pos x="26" y="183"/>
                </a:cxn>
                <a:cxn ang="0">
                  <a:pos x="29" y="181"/>
                </a:cxn>
              </a:cxnLst>
              <a:rect l="0" t="0" r="r" b="b"/>
              <a:pathLst>
                <a:path w="287" h="208">
                  <a:moveTo>
                    <a:pt x="29" y="181"/>
                  </a:moveTo>
                  <a:cubicBezTo>
                    <a:pt x="30" y="184"/>
                    <a:pt x="30" y="184"/>
                    <a:pt x="30" y="184"/>
                  </a:cubicBezTo>
                  <a:cubicBezTo>
                    <a:pt x="44" y="208"/>
                    <a:pt x="44" y="208"/>
                    <a:pt x="44" y="208"/>
                  </a:cubicBezTo>
                  <a:cubicBezTo>
                    <a:pt x="78" y="116"/>
                    <a:pt x="165" y="50"/>
                    <a:pt x="267" y="46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144" y="4"/>
                    <a:pt x="40" y="83"/>
                    <a:pt x="0" y="194"/>
                  </a:cubicBezTo>
                  <a:cubicBezTo>
                    <a:pt x="26" y="183"/>
                    <a:pt x="26" y="183"/>
                    <a:pt x="26" y="183"/>
                  </a:cubicBezTo>
                  <a:lnTo>
                    <a:pt x="29" y="181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gray">
            <a:xfrm>
              <a:off x="3578226" y="8165473"/>
              <a:ext cx="5591810" cy="1435735"/>
            </a:xfrm>
            <a:custGeom>
              <a:avLst/>
              <a:gdLst/>
              <a:ahLst/>
              <a:cxnLst>
                <a:cxn ang="0">
                  <a:pos x="303" y="31"/>
                </a:cxn>
                <a:cxn ang="0">
                  <a:pos x="303" y="28"/>
                </a:cxn>
                <a:cxn ang="0">
                  <a:pos x="306" y="0"/>
                </a:cxn>
                <a:cxn ang="0">
                  <a:pos x="168" y="43"/>
                </a:cxn>
                <a:cxn ang="0">
                  <a:pos x="30" y="0"/>
                </a:cxn>
                <a:cxn ang="0">
                  <a:pos x="0" y="7"/>
                </a:cxn>
                <a:cxn ang="0">
                  <a:pos x="3" y="38"/>
                </a:cxn>
                <a:cxn ang="0">
                  <a:pos x="168" y="89"/>
                </a:cxn>
                <a:cxn ang="0">
                  <a:pos x="333" y="38"/>
                </a:cxn>
                <a:cxn ang="0">
                  <a:pos x="306" y="32"/>
                </a:cxn>
                <a:cxn ang="0">
                  <a:pos x="303" y="31"/>
                </a:cxn>
              </a:cxnLst>
              <a:rect l="0" t="0" r="r" b="b"/>
              <a:pathLst>
                <a:path w="333" h="89">
                  <a:moveTo>
                    <a:pt x="303" y="31"/>
                  </a:moveTo>
                  <a:cubicBezTo>
                    <a:pt x="303" y="28"/>
                    <a:pt x="303" y="28"/>
                    <a:pt x="303" y="28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266" y="27"/>
                    <a:pt x="219" y="43"/>
                    <a:pt x="168" y="43"/>
                  </a:cubicBezTo>
                  <a:cubicBezTo>
                    <a:pt x="117" y="43"/>
                    <a:pt x="69" y="27"/>
                    <a:pt x="3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50" y="70"/>
                    <a:pt x="107" y="89"/>
                    <a:pt x="168" y="89"/>
                  </a:cubicBezTo>
                  <a:cubicBezTo>
                    <a:pt x="229" y="89"/>
                    <a:pt x="286" y="70"/>
                    <a:pt x="333" y="38"/>
                  </a:cubicBezTo>
                  <a:cubicBezTo>
                    <a:pt x="306" y="32"/>
                    <a:pt x="306" y="32"/>
                    <a:pt x="306" y="32"/>
                  </a:cubicBezTo>
                  <a:lnTo>
                    <a:pt x="303" y="31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gray">
            <a:xfrm>
              <a:off x="8687560" y="3594199"/>
              <a:ext cx="2429192" cy="5036184"/>
            </a:xfrm>
            <a:custGeom>
              <a:avLst/>
              <a:gdLst/>
              <a:ahLst/>
              <a:cxnLst>
                <a:cxn ang="0">
                  <a:pos x="144" y="82"/>
                </a:cxn>
                <a:cxn ang="0">
                  <a:pos x="132" y="0"/>
                </a:cxn>
                <a:cxn ang="0">
                  <a:pos x="118" y="24"/>
                </a:cxn>
                <a:cxn ang="0">
                  <a:pos x="116" y="26"/>
                </a:cxn>
                <a:cxn ang="0">
                  <a:pos x="114" y="25"/>
                </a:cxn>
                <a:cxn ang="0">
                  <a:pos x="88" y="14"/>
                </a:cxn>
                <a:cxn ang="0">
                  <a:pos x="98" y="82"/>
                </a:cxn>
                <a:cxn ang="0">
                  <a:pos x="3" y="276"/>
                </a:cxn>
                <a:cxn ang="0">
                  <a:pos x="0" y="307"/>
                </a:cxn>
                <a:cxn ang="0">
                  <a:pos x="30" y="314"/>
                </a:cxn>
                <a:cxn ang="0">
                  <a:pos x="144" y="82"/>
                </a:cxn>
              </a:cxnLst>
              <a:rect l="0" t="0" r="r" b="b"/>
              <a:pathLst>
                <a:path w="144" h="314">
                  <a:moveTo>
                    <a:pt x="144" y="82"/>
                  </a:moveTo>
                  <a:cubicBezTo>
                    <a:pt x="144" y="53"/>
                    <a:pt x="140" y="26"/>
                    <a:pt x="132" y="0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14" y="25"/>
                    <a:pt x="114" y="25"/>
                    <a:pt x="114" y="25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94" y="35"/>
                    <a:pt x="98" y="58"/>
                    <a:pt x="98" y="82"/>
                  </a:cubicBezTo>
                  <a:cubicBezTo>
                    <a:pt x="98" y="161"/>
                    <a:pt x="61" y="231"/>
                    <a:pt x="3" y="276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30" y="314"/>
                    <a:pt x="30" y="314"/>
                    <a:pt x="30" y="314"/>
                  </a:cubicBezTo>
                  <a:cubicBezTo>
                    <a:pt x="99" y="260"/>
                    <a:pt x="144" y="176"/>
                    <a:pt x="144" y="8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</p:grpSp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2"/>
          <a:srcRect l="41468" t="33175" r="37101" b="28106"/>
          <a:stretch/>
        </p:blipFill>
        <p:spPr>
          <a:xfrm>
            <a:off x="4246823" y="1799706"/>
            <a:ext cx="3196229" cy="3139489"/>
          </a:xfrm>
          <a:prstGeom prst="ellipse">
            <a:avLst/>
          </a:prstGeom>
        </p:spPr>
      </p:pic>
      <p:sp>
        <p:nvSpPr>
          <p:cNvPr id="99" name="Title 1"/>
          <p:cNvSpPr txBox="1">
            <a:spLocks/>
          </p:cNvSpPr>
          <p:nvPr/>
        </p:nvSpPr>
        <p:spPr>
          <a:xfrm>
            <a:off x="0" y="88406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b="1" u="sng" dirty="0"/>
              <a:t>AWS TEAM – PQF-2021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645019" y="18056"/>
            <a:ext cx="2418510" cy="1270046"/>
            <a:chOff x="4645019" y="30150"/>
            <a:chExt cx="2181620" cy="1270046"/>
          </a:xfrm>
        </p:grpSpPr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3"/>
            <a:srcRect l="33738" t="30000" r="36434" b="52763"/>
            <a:stretch/>
          </p:blipFill>
          <p:spPr bwMode="auto">
            <a:xfrm>
              <a:off x="4707630" y="449129"/>
              <a:ext cx="710177" cy="811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2" name="Group 111"/>
            <p:cNvGrpSpPr/>
            <p:nvPr/>
          </p:nvGrpSpPr>
          <p:grpSpPr>
            <a:xfrm>
              <a:off x="4645019" y="30150"/>
              <a:ext cx="2181620" cy="1270046"/>
              <a:chOff x="10212081" y="2523441"/>
              <a:chExt cx="1945994" cy="1240603"/>
            </a:xfrm>
          </p:grpSpPr>
          <p:sp>
            <p:nvSpPr>
              <p:cNvPr id="113" name="Rectangle 112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AWS Lead</a:t>
                </a:r>
              </a:p>
            </p:txBody>
          </p:sp>
          <p:sp>
            <p:nvSpPr>
              <p:cNvPr id="114" name="Rectangle 113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15" name="Rectangle 114"/>
              <p:cNvSpPr>
                <a:spLocks noChangeArrowheads="1"/>
              </p:cNvSpPr>
              <p:nvPr/>
            </p:nvSpPr>
            <p:spPr bwMode="auto">
              <a:xfrm>
                <a:off x="10943722" y="3347540"/>
                <a:ext cx="1143818" cy="37773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E, Safety &amp; Environment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ager</a:t>
                </a:r>
              </a:p>
            </p:txBody>
          </p:sp>
          <p:sp>
            <p:nvSpPr>
              <p:cNvPr id="116" name="Rectangle 115"/>
              <p:cNvSpPr>
                <a:spLocks noChangeArrowheads="1"/>
              </p:cNvSpPr>
              <p:nvPr/>
            </p:nvSpPr>
            <p:spPr bwMode="auto">
              <a:xfrm>
                <a:off x="10943722" y="2951440"/>
                <a:ext cx="1143818" cy="36748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idra Ehsan</a:t>
                </a:r>
              </a:p>
            </p:txBody>
          </p:sp>
        </p:grpSp>
      </p:grpSp>
      <p:grpSp>
        <p:nvGrpSpPr>
          <p:cNvPr id="117" name="Group 116"/>
          <p:cNvGrpSpPr/>
          <p:nvPr/>
        </p:nvGrpSpPr>
        <p:grpSpPr>
          <a:xfrm>
            <a:off x="7236749" y="1285252"/>
            <a:ext cx="2181620" cy="1270046"/>
            <a:chOff x="10212081" y="2523441"/>
            <a:chExt cx="1945994" cy="1240603"/>
          </a:xfrm>
        </p:grpSpPr>
        <p:sp>
          <p:nvSpPr>
            <p:cNvPr id="118" name="Rectangle 117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Site WR &amp; WT Champion</a:t>
              </a:r>
            </a:p>
          </p:txBody>
        </p:sp>
        <p:sp>
          <p:nvSpPr>
            <p:cNvPr id="119" name="Rectangle 118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20" name="Rectangle 119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Team Leader (Production)</a:t>
              </a:r>
            </a:p>
          </p:txBody>
        </p:sp>
        <p:sp>
          <p:nvSpPr>
            <p:cNvPr id="121" name="Rectangle 120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sma Altaf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2093177" y="1285252"/>
            <a:ext cx="2351673" cy="1270046"/>
            <a:chOff x="10212081" y="2523441"/>
            <a:chExt cx="1945994" cy="1240603"/>
          </a:xfrm>
        </p:grpSpPr>
        <p:sp>
          <p:nvSpPr>
            <p:cNvPr id="125" name="Rectangle 124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Legal Manager</a:t>
              </a:r>
            </a:p>
          </p:txBody>
        </p:sp>
        <p:sp>
          <p:nvSpPr>
            <p:cNvPr id="126" name="Rectangle 125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27" name="Rectangle 126"/>
            <p:cNvSpPr>
              <a:spLocks noChangeArrowheads="1"/>
            </p:cNvSpPr>
            <p:nvPr/>
          </p:nvSpPr>
          <p:spPr bwMode="auto">
            <a:xfrm>
              <a:off x="10919481" y="3347540"/>
              <a:ext cx="1168058" cy="382304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BSS-Safety &amp; Environment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Coordinator</a:t>
              </a:r>
            </a:p>
          </p:txBody>
        </p:sp>
        <p:sp>
          <p:nvSpPr>
            <p:cNvPr id="128" name="Rectangle 127"/>
            <p:cNvSpPr>
              <a:spLocks noChangeArrowheads="1"/>
            </p:cNvSpPr>
            <p:nvPr/>
          </p:nvSpPr>
          <p:spPr bwMode="auto">
            <a:xfrm>
              <a:off x="10920182" y="2951440"/>
              <a:ext cx="1167357" cy="37576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Waqas Hussain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1441401" y="3065739"/>
            <a:ext cx="2181620" cy="1270046"/>
            <a:chOff x="10212081" y="2523441"/>
            <a:chExt cx="1945994" cy="1240603"/>
          </a:xfrm>
        </p:grpSpPr>
        <p:sp>
          <p:nvSpPr>
            <p:cNvPr id="132" name="Rectangle 131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HR Manager</a:t>
              </a:r>
            </a:p>
          </p:txBody>
        </p:sp>
        <p:sp>
          <p:nvSpPr>
            <p:cNvPr id="133" name="Rectangle 132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34" name="Rectangle 133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HR Manager</a:t>
              </a:r>
            </a:p>
          </p:txBody>
        </p:sp>
        <p:sp>
          <p:nvSpPr>
            <p:cNvPr id="135" name="Rectangle 134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iza Shadab</a:t>
              </a: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1038343" y="4548978"/>
            <a:ext cx="2181620" cy="1270046"/>
            <a:chOff x="10212081" y="2523441"/>
            <a:chExt cx="1945994" cy="1240603"/>
          </a:xfrm>
        </p:grpSpPr>
        <p:sp>
          <p:nvSpPr>
            <p:cNvPr id="139" name="Rectangle 138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Corp. Public Affairs</a:t>
              </a:r>
            </a:p>
          </p:txBody>
        </p:sp>
        <p:sp>
          <p:nvSpPr>
            <p:cNvPr id="140" name="Rectangle 139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41" name="Rectangle 140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ssistant Manager 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Public Affairs</a:t>
              </a:r>
            </a:p>
          </p:txBody>
        </p:sp>
        <p:sp>
          <p:nvSpPr>
            <p:cNvPr id="142" name="Rectangle 141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Maryam Khalid</a:t>
              </a: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3487926" y="5401589"/>
            <a:ext cx="2181620" cy="1270046"/>
            <a:chOff x="10212081" y="2523441"/>
            <a:chExt cx="1945994" cy="1240603"/>
          </a:xfrm>
        </p:grpSpPr>
        <p:sp>
          <p:nvSpPr>
            <p:cNvPr id="146" name="Rectangle 145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Factory Controller</a:t>
              </a:r>
            </a:p>
          </p:txBody>
        </p:sp>
        <p:sp>
          <p:nvSpPr>
            <p:cNvPr id="147" name="Rectangle 146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48" name="Rectangle 147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&amp;C Manager</a:t>
              </a:r>
            </a:p>
          </p:txBody>
        </p:sp>
        <p:sp>
          <p:nvSpPr>
            <p:cNvPr id="149" name="Rectangle 148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deel Iqbal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423081" y="4599160"/>
            <a:ext cx="2441424" cy="1270046"/>
            <a:chOff x="8456201" y="5385834"/>
            <a:chExt cx="2441424" cy="1270046"/>
          </a:xfrm>
        </p:grpSpPr>
        <p:pic>
          <p:nvPicPr>
            <p:cNvPr id="109" name="Picture 10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76" t="8283" r="21486" b="37777"/>
            <a:stretch/>
          </p:blipFill>
          <p:spPr>
            <a:xfrm>
              <a:off x="8571913" y="5820515"/>
              <a:ext cx="764434" cy="76181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154" name="Group 153"/>
            <p:cNvGrpSpPr/>
            <p:nvPr/>
          </p:nvGrpSpPr>
          <p:grpSpPr>
            <a:xfrm>
              <a:off x="8456201" y="5385834"/>
              <a:ext cx="2441424" cy="1270046"/>
              <a:chOff x="10212081" y="2523441"/>
              <a:chExt cx="1945994" cy="1240603"/>
            </a:xfrm>
          </p:grpSpPr>
          <p:sp>
            <p:nvSpPr>
              <p:cNvPr id="155" name="Rectangle 154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400" dirty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Public Affairs</a:t>
                </a:r>
              </a:p>
            </p:txBody>
          </p:sp>
          <p:sp>
            <p:nvSpPr>
              <p:cNvPr id="156" name="Rectangle 155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59" name="Rectangle 158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ublic Affairs Mgr.-South</a:t>
                </a:r>
              </a:p>
            </p:txBody>
          </p:sp>
          <p:sp>
            <p:nvSpPr>
              <p:cNvPr id="160" name="Rectangle 159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err="1">
                    <a:solidFill>
                      <a:srgbClr val="002060"/>
                    </a:solidFill>
                    <a:cs typeface="Calibri" panose="020F0502020204030204" pitchFamily="34" charset="0"/>
                  </a:rPr>
                  <a:t>Rahat</a:t>
                </a:r>
                <a:r>
                  <a:rPr lang="en-US" sz="9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 Hussain</a:t>
                </a:r>
              </a:p>
            </p:txBody>
          </p:sp>
        </p:grpSp>
      </p:grpSp>
      <p:grpSp>
        <p:nvGrpSpPr>
          <p:cNvPr id="163" name="Group 162"/>
          <p:cNvGrpSpPr/>
          <p:nvPr/>
        </p:nvGrpSpPr>
        <p:grpSpPr>
          <a:xfrm>
            <a:off x="7774731" y="3062128"/>
            <a:ext cx="2272352" cy="1270046"/>
            <a:chOff x="10212081" y="2523441"/>
            <a:chExt cx="1945994" cy="1240603"/>
          </a:xfrm>
        </p:grpSpPr>
        <p:sp>
          <p:nvSpPr>
            <p:cNvPr id="164" name="Rectangle 163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AWS Coach</a:t>
              </a:r>
            </a:p>
          </p:txBody>
        </p:sp>
        <p:sp>
          <p:nvSpPr>
            <p:cNvPr id="165" name="Rectangle 164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66" name="Rectangle 165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Factory Engineer</a:t>
              </a:r>
            </a:p>
          </p:txBody>
        </p:sp>
        <p:sp>
          <p:nvSpPr>
            <p:cNvPr id="167" name="Rectangle 166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M. Hanif</a:t>
              </a:r>
            </a:p>
          </p:txBody>
        </p:sp>
      </p:grpSp>
      <p:pic>
        <p:nvPicPr>
          <p:cNvPr id="168" name="Picture 16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14" b="24952"/>
          <a:stretch/>
        </p:blipFill>
        <p:spPr>
          <a:xfrm>
            <a:off x="2203857" y="1737531"/>
            <a:ext cx="727750" cy="7827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7A2BFA28-4CE3-41D6-8E66-BF54C70F0CB5}"/>
              </a:ext>
            </a:extLst>
          </p:cNvPr>
          <p:cNvPicPr/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46" t="28883" r="49195" b="27367"/>
          <a:stretch/>
        </p:blipFill>
        <p:spPr bwMode="auto">
          <a:xfrm rot="5400000">
            <a:off x="7871903" y="3491017"/>
            <a:ext cx="757335" cy="8146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</p:spPr>
      </p:pic>
      <p:grpSp>
        <p:nvGrpSpPr>
          <p:cNvPr id="170" name="Group 169"/>
          <p:cNvGrpSpPr/>
          <p:nvPr/>
        </p:nvGrpSpPr>
        <p:grpSpPr>
          <a:xfrm>
            <a:off x="9829703" y="1665323"/>
            <a:ext cx="2272352" cy="1270046"/>
            <a:chOff x="10212081" y="2523441"/>
            <a:chExt cx="1945994" cy="1240603"/>
          </a:xfrm>
        </p:grpSpPr>
        <p:sp>
          <p:nvSpPr>
            <p:cNvPr id="171" name="Rectangle 170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b="1" dirty="0">
                  <a:solidFill>
                    <a:srgbClr val="FFFF00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AWS Sponsor</a:t>
              </a:r>
            </a:p>
          </p:txBody>
        </p:sp>
        <p:sp>
          <p:nvSpPr>
            <p:cNvPr id="172" name="Rectangle 171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73" name="Rectangle 172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416504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85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850" dirty="0">
                  <a:solidFill>
                    <a:srgbClr val="002060"/>
                  </a:solidFill>
                  <a:cs typeface="Calibri" panose="020F0502020204030204" pitchFamily="34" charset="0"/>
                </a:rPr>
                <a:t>Factory Manager</a:t>
              </a:r>
            </a:p>
          </p:txBody>
        </p:sp>
        <p:sp>
          <p:nvSpPr>
            <p:cNvPr id="174" name="Rectangle 173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Mujtaba Saqib</a:t>
              </a: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/>
          <a:srcRect l="19981" t="19114" r="72555" b="67616"/>
          <a:stretch/>
        </p:blipFill>
        <p:spPr>
          <a:xfrm>
            <a:off x="1077314" y="4968842"/>
            <a:ext cx="809605" cy="809605"/>
          </a:xfrm>
          <a:prstGeom prst="rect">
            <a:avLst/>
          </a:prstGeom>
        </p:spPr>
      </p:pic>
      <p:grpSp>
        <p:nvGrpSpPr>
          <p:cNvPr id="74" name="Group 73"/>
          <p:cNvGrpSpPr/>
          <p:nvPr/>
        </p:nvGrpSpPr>
        <p:grpSpPr>
          <a:xfrm>
            <a:off x="5937064" y="5401589"/>
            <a:ext cx="2181620" cy="1270046"/>
            <a:chOff x="10212081" y="2523441"/>
            <a:chExt cx="1945994" cy="1240603"/>
          </a:xfrm>
        </p:grpSpPr>
        <p:sp>
          <p:nvSpPr>
            <p:cNvPr id="75" name="Rectangle 74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Quality Assurance</a:t>
              </a:r>
            </a:p>
          </p:txBody>
        </p:sp>
        <p:sp>
          <p:nvSpPr>
            <p:cNvPr id="76" name="Rectangle 75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QA Manager</a:t>
              </a: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>
                  <a:solidFill>
                    <a:srgbClr val="002060"/>
                  </a:solidFill>
                  <a:cs typeface="Calibri" panose="020F0502020204030204" pitchFamily="34" charset="0"/>
                </a:rPr>
                <a:t>Ahmer Waheed</a:t>
              </a:r>
            </a:p>
          </p:txBody>
        </p:sp>
      </p:grpSp>
      <p:pic>
        <p:nvPicPr>
          <p:cNvPr id="80" name="Picture 91">
            <a:extLst>
              <a:ext uri="{FF2B5EF4-FFF2-40B4-BE49-F238E27FC236}">
                <a16:creationId xmlns:a16="http://schemas.microsoft.com/office/drawing/2014/main" id="{81B102D5-DC2D-4C6D-B476-B45D70E20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63" b="19565"/>
          <a:stretch>
            <a:fillRect/>
          </a:stretch>
        </p:blipFill>
        <p:spPr bwMode="auto">
          <a:xfrm>
            <a:off x="1527713" y="3506655"/>
            <a:ext cx="745635" cy="818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3">
            <a:extLst>
              <a:ext uri="{FF2B5EF4-FFF2-40B4-BE49-F238E27FC236}">
                <a16:creationId xmlns:a16="http://schemas.microsoft.com/office/drawing/2014/main" id="{B3CDF3A8-E844-483A-8201-77E1CC0267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7539" y="5838606"/>
            <a:ext cx="778586" cy="796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96">
            <a:extLst>
              <a:ext uri="{FF2B5EF4-FFF2-40B4-BE49-F238E27FC236}">
                <a16:creationId xmlns:a16="http://schemas.microsoft.com/office/drawing/2014/main" id="{8C450B52-6F44-4C42-82BA-42A90FE39A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476" y="5827135"/>
            <a:ext cx="760498" cy="851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96">
            <a:extLst>
              <a:ext uri="{FF2B5EF4-FFF2-40B4-BE49-F238E27FC236}">
                <a16:creationId xmlns:a16="http://schemas.microsoft.com/office/drawing/2014/main" id="{0423E99B-A7B9-46E0-80F7-232DAFF81EC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92" t="9406" r="21086" b="39795"/>
          <a:stretch>
            <a:fillRect/>
          </a:stretch>
        </p:blipFill>
        <p:spPr bwMode="auto">
          <a:xfrm>
            <a:off x="7285375" y="1702829"/>
            <a:ext cx="818138" cy="81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Rectangle 165">
            <a:extLst>
              <a:ext uri="{FF2B5EF4-FFF2-40B4-BE49-F238E27FC236}">
                <a16:creationId xmlns:a16="http://schemas.microsoft.com/office/drawing/2014/main" id="{AD37E6A0-37F6-478C-9002-BE0974139C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9802" y="2583873"/>
            <a:ext cx="1223396" cy="449680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4448" tIns="47224" rIns="94448" bIns="47224"/>
          <a:lstStyle>
            <a:lvl1pPr defTabSz="1330325">
              <a:spcBef>
                <a:spcPct val="20000"/>
              </a:spcBef>
              <a:buFont typeface="Arial" panose="020B0604020202020204" pitchFamily="34" charset="0"/>
              <a:buChar char="•"/>
              <a:defRPr sz="4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133475" indent="-434975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4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743075" indent="-347663" defTabSz="1330325">
              <a:spcBef>
                <a:spcPct val="20000"/>
              </a:spcBef>
              <a:buFont typeface="Arial" panose="020B0604020202020204" pitchFamily="34" charset="0"/>
              <a:buChar char="•"/>
              <a:defRPr sz="3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2439988" indent="-347663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3138488" indent="-347663" defTabSz="1330325">
              <a:spcBef>
                <a:spcPct val="20000"/>
              </a:spcBef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5956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40528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45100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9672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Backup:</a:t>
            </a:r>
          </a:p>
          <a:p>
            <a:pPr algn="r">
              <a:spcBef>
                <a:spcPct val="0"/>
              </a:spcBef>
              <a:buFontTx/>
              <a:buNone/>
              <a:defRPr/>
            </a:pPr>
            <a:r>
              <a:rPr lang="en-US" altLang="en-US" sz="900" dirty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Asher Kazmi</a:t>
            </a:r>
          </a:p>
        </p:txBody>
      </p:sp>
      <p:pic>
        <p:nvPicPr>
          <p:cNvPr id="85" name="Picture 112">
            <a:extLst>
              <a:ext uri="{FF2B5EF4-FFF2-40B4-BE49-F238E27FC236}">
                <a16:creationId xmlns:a16="http://schemas.microsoft.com/office/drawing/2014/main" id="{7EBD6A1D-FC92-463F-ACEE-E42666F3AB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881" y="2592811"/>
            <a:ext cx="427645" cy="398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87">
            <a:extLst>
              <a:ext uri="{FF2B5EF4-FFF2-40B4-BE49-F238E27FC236}">
                <a16:creationId xmlns:a16="http://schemas.microsoft.com/office/drawing/2014/main" id="{F63E8F2E-DECC-4F4D-B6D8-0CD4E66069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" t="15173" r="1566" b="7213"/>
          <a:stretch>
            <a:fillRect/>
          </a:stretch>
        </p:blipFill>
        <p:spPr bwMode="auto">
          <a:xfrm>
            <a:off x="9918200" y="2094399"/>
            <a:ext cx="800585" cy="85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95686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2</TotalTime>
  <Words>141</Words>
  <Application>Microsoft Office PowerPoint</Application>
  <PresentationFormat>Widescreen</PresentationFormat>
  <Paragraphs>6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1</vt:lpstr>
      <vt:lpstr>think-cell Slide</vt:lpstr>
      <vt:lpstr>AWS Team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Safety-KHI</cp:lastModifiedBy>
  <cp:revision>74</cp:revision>
  <dcterms:created xsi:type="dcterms:W3CDTF">2017-05-03T09:22:46Z</dcterms:created>
  <dcterms:modified xsi:type="dcterms:W3CDTF">2021-05-23T12:3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